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2" r:id="rId4"/>
    <p:sldMasterId id="2147483742" r:id="rId5"/>
    <p:sldMasterId id="2147483770" r:id="rId6"/>
    <p:sldMasterId id="2147483772" r:id="rId7"/>
    <p:sldMasterId id="2147483782" r:id="rId8"/>
    <p:sldMasterId id="2147484088" r:id="rId9"/>
    <p:sldMasterId id="2147484574" r:id="rId10"/>
  </p:sldMasterIdLst>
  <p:notesMasterIdLst>
    <p:notesMasterId r:id="rId12"/>
  </p:notesMasterIdLst>
  <p:handoutMasterIdLst>
    <p:handoutMasterId r:id="rId13"/>
  </p:handoutMasterIdLst>
  <p:sldIdLst>
    <p:sldId id="373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ittany Soto" initials="BS" lastIdx="1" clrIdx="0">
    <p:extLst>
      <p:ext uri="{19B8F6BF-5375-455C-9EA6-DF929625EA0E}">
        <p15:presenceInfo xmlns:p15="http://schemas.microsoft.com/office/powerpoint/2012/main" userId="S::brittany.soto@veritas.com::9d09119c-cf97-4051-b1c1-fc8320c3c3a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8EC20E35-A176-4012-BC5E-935CFFF8708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50"/>
  </p:normalViewPr>
  <p:slideViewPr>
    <p:cSldViewPr snapToGrid="0">
      <p:cViewPr varScale="1">
        <p:scale>
          <a:sx n="120" d="100"/>
          <a:sy n="120" d="100"/>
        </p:scale>
        <p:origin x="26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4E9A5D4-0179-934A-B4EF-4398498EE73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D5ABD5-C29E-8D4A-9FF4-413996A8FF2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AA47D3-D7EF-544D-A0EB-30BA74C98D31}" type="datetimeFigureOut">
              <a:rPr lang="en-US" smtClean="0"/>
              <a:t>10/4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68F081-4BDB-F048-9236-46AEABDAD9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B1022B-8BC8-9D42-8B5D-1D077C4D001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874869-D46B-F049-89AC-34FA6A8C15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852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09A209-FCA2-9A45-B98A-E3271C01B02A}" type="datetimeFigureOut">
              <a:rPr lang="en-US" smtClean="0"/>
              <a:t>10/4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37E0A3-ED73-4340-AE78-6A69A31634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632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6B7E1-4822-D64D-82B5-5688A833658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718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6E8F81-1043-467C-9563-08AB0C76A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142F30-F603-40C7-B1B8-BCA20E7F41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7C84-17FF-487B-88B0-135A36C0173D}" type="datetimeFigureOut">
              <a:rPr lang="en-US" smtClean="0"/>
              <a:t>10/4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3921C3-239C-4AC2-9C02-56A75EF7C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6B0905-34D6-4A06-912E-654B7F8ED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AB95-D649-417C-B596-5370EDCD0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4439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 3 Box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77E1744-C6B4-5240-95DD-6DCF60313FD9}"/>
              </a:ext>
            </a:extLst>
          </p:cNvPr>
          <p:cNvSpPr/>
          <p:nvPr userDrawn="1"/>
        </p:nvSpPr>
        <p:spPr bwMode="auto">
          <a:xfrm>
            <a:off x="839789" y="1468708"/>
            <a:ext cx="3359232" cy="4566004"/>
          </a:xfrm>
          <a:prstGeom prst="roundRect">
            <a:avLst>
              <a:gd name="adj" fmla="val 2979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1">
              <a:solidFill>
                <a:schemeClr val="bg2">
                  <a:lumMod val="50000"/>
                </a:schemeClr>
              </a:solidFill>
              <a:latin typeface="Polaris Book" panose="02000000000000000000" pitchFamily="2" charset="77"/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588E6726-4771-7F42-8A59-45031350DBE2}"/>
              </a:ext>
            </a:extLst>
          </p:cNvPr>
          <p:cNvSpPr/>
          <p:nvPr userDrawn="1"/>
        </p:nvSpPr>
        <p:spPr bwMode="auto">
          <a:xfrm>
            <a:off x="4417972" y="1468708"/>
            <a:ext cx="3359232" cy="4566004"/>
          </a:xfrm>
          <a:prstGeom prst="roundRect">
            <a:avLst>
              <a:gd name="adj" fmla="val 2979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1">
              <a:solidFill>
                <a:schemeClr val="bg2">
                  <a:lumMod val="50000"/>
                </a:schemeClr>
              </a:solidFill>
              <a:latin typeface="Polaris Book" panose="02000000000000000000" pitchFamily="2" charset="77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16A976C-F8DB-6A4F-8EF4-D8236C33A989}"/>
              </a:ext>
            </a:extLst>
          </p:cNvPr>
          <p:cNvSpPr/>
          <p:nvPr userDrawn="1"/>
        </p:nvSpPr>
        <p:spPr bwMode="auto">
          <a:xfrm>
            <a:off x="7996156" y="1468708"/>
            <a:ext cx="3359232" cy="4566004"/>
          </a:xfrm>
          <a:prstGeom prst="roundRect">
            <a:avLst>
              <a:gd name="adj" fmla="val 2979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1">
              <a:solidFill>
                <a:schemeClr val="bg2">
                  <a:lumMod val="50000"/>
                </a:schemeClr>
              </a:solidFill>
              <a:latin typeface="Polaris Book" panose="02000000000000000000" pitchFamily="2" charset="77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E9E99C-E59F-6B44-9D46-E114D4149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04922"/>
            <a:ext cx="10515600" cy="9717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126722-D280-E146-BDAB-3C20526AA5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28545" y="1732981"/>
            <a:ext cx="2793749" cy="46199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3AE8-908F-2143-A058-EC3A2B44D2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28545" y="2367137"/>
            <a:ext cx="2793749" cy="340330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4C3270-79F2-3E42-9195-790A3A9A76D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670927" y="1732981"/>
            <a:ext cx="2850146" cy="46199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A3274DB-9D92-0647-B9D5-B2571AFA4F0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70927" y="2367137"/>
            <a:ext cx="2850146" cy="340330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596E7DA-A453-0946-A77E-41E1B5C8DA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6F1870-3035-784F-B3CF-2957F96B0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F272461F-1F12-2D4F-A81D-21A0B52F2B0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50699" y="2320131"/>
            <a:ext cx="2850146" cy="3450308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502920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65503D3-8B27-9B42-935E-9E7BE999E2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50699" y="1732981"/>
            <a:ext cx="2850146" cy="46196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Tx/>
              <a:buNone/>
              <a:defRPr lang="en-US"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942693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 Sub 3 Box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77E1744-C6B4-5240-95DD-6DCF60313FD9}"/>
              </a:ext>
            </a:extLst>
          </p:cNvPr>
          <p:cNvSpPr/>
          <p:nvPr userDrawn="1"/>
        </p:nvSpPr>
        <p:spPr bwMode="auto">
          <a:xfrm>
            <a:off x="839789" y="1468708"/>
            <a:ext cx="3359232" cy="4566004"/>
          </a:xfrm>
          <a:prstGeom prst="roundRect">
            <a:avLst>
              <a:gd name="adj" fmla="val 2979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1">
              <a:solidFill>
                <a:schemeClr val="bg2">
                  <a:lumMod val="50000"/>
                </a:schemeClr>
              </a:solidFill>
              <a:latin typeface="Polaris Book" panose="02000000000000000000" pitchFamily="2" charset="77"/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588E6726-4771-7F42-8A59-45031350DBE2}"/>
              </a:ext>
            </a:extLst>
          </p:cNvPr>
          <p:cNvSpPr/>
          <p:nvPr userDrawn="1"/>
        </p:nvSpPr>
        <p:spPr bwMode="auto">
          <a:xfrm>
            <a:off x="4417972" y="1468708"/>
            <a:ext cx="3359232" cy="4566004"/>
          </a:xfrm>
          <a:prstGeom prst="roundRect">
            <a:avLst>
              <a:gd name="adj" fmla="val 2979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1">
              <a:solidFill>
                <a:schemeClr val="bg2">
                  <a:lumMod val="50000"/>
                </a:schemeClr>
              </a:solidFill>
              <a:latin typeface="Polaris Book" panose="02000000000000000000" pitchFamily="2" charset="77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16A976C-F8DB-6A4F-8EF4-D8236C33A989}"/>
              </a:ext>
            </a:extLst>
          </p:cNvPr>
          <p:cNvSpPr/>
          <p:nvPr userDrawn="1"/>
        </p:nvSpPr>
        <p:spPr bwMode="auto">
          <a:xfrm>
            <a:off x="7996156" y="1468708"/>
            <a:ext cx="3359232" cy="4566004"/>
          </a:xfrm>
          <a:prstGeom prst="roundRect">
            <a:avLst>
              <a:gd name="adj" fmla="val 2979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1">
              <a:solidFill>
                <a:schemeClr val="bg2">
                  <a:lumMod val="50000"/>
                </a:schemeClr>
              </a:solidFill>
              <a:latin typeface="Polaris Book" panose="02000000000000000000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126722-D280-E146-BDAB-3C20526AA5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28545" y="1732981"/>
            <a:ext cx="2793749" cy="46199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3AE8-908F-2143-A058-EC3A2B44D2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28545" y="2367137"/>
            <a:ext cx="2793749" cy="340330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4C3270-79F2-3E42-9195-790A3A9A76D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670927" y="1732981"/>
            <a:ext cx="2850146" cy="46199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A3274DB-9D92-0647-B9D5-B2571AFA4F0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70927" y="2367137"/>
            <a:ext cx="2850146" cy="340330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596E7DA-A453-0946-A77E-41E1B5C8DA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6F1870-3035-784F-B3CF-2957F96B0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F272461F-1F12-2D4F-A81D-21A0B52F2B0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50699" y="2320131"/>
            <a:ext cx="2850146" cy="3450308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502920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65503D3-8B27-9B42-935E-9E7BE999E2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50699" y="1732981"/>
            <a:ext cx="2850146" cy="46196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Tx/>
              <a:buNone/>
              <a:defRPr lang="en-US"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17D07B0-EFEC-EA46-ACDE-08C1C9075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39" y="397043"/>
            <a:ext cx="10535322" cy="462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9F25C540-C642-1C45-8CA4-836DB326D1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8339" y="890337"/>
            <a:ext cx="10535322" cy="3062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967201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 4 Colum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244A8-F821-A846-A4AA-914F6CA1B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E2DB70-E24B-1C4D-9A16-4322EF486A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675049"/>
            <a:ext cx="2277169" cy="4542869"/>
          </a:xfrm>
          <a:prstGeom prst="rect">
            <a:avLst/>
          </a:prstGeom>
        </p:spPr>
        <p:txBody>
          <a:bodyPr/>
          <a:lstStyle>
            <a:lvl1pPr marL="182880" indent="-182880">
              <a:defRPr sz="1800"/>
            </a:lvl1pPr>
            <a:lvl2pPr marL="434340" indent="-16002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4F7E2F-9309-F044-95A8-724576505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80292" y="1675049"/>
            <a:ext cx="2284507" cy="4542869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780" indent="-16002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82880" lvl="0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3A30ED-03D5-8E4C-BA77-C7B9FE1E2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294428-5C72-8748-93EF-13E57EFB8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8B66FB83-D657-2F47-983A-227AF0EE3C8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29723" y="1675049"/>
            <a:ext cx="2284507" cy="4542869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8660" indent="-34290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82880" lvl="0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2D95588D-E498-D94C-82B4-8BE9F0954C8C}"/>
              </a:ext>
            </a:extLst>
          </p:cNvPr>
          <p:cNvSpPr>
            <a:spLocks noGrp="1"/>
          </p:cNvSpPr>
          <p:nvPr userDrawn="1">
            <p:ph sz="half" idx="14"/>
          </p:nvPr>
        </p:nvSpPr>
        <p:spPr>
          <a:xfrm>
            <a:off x="9079154" y="1675049"/>
            <a:ext cx="2284507" cy="4542869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8660" indent="-34290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82880" lvl="0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173707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 Sub 4 Colum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E2DB70-E24B-1C4D-9A16-4322EF486A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675049"/>
            <a:ext cx="2277169" cy="4542869"/>
          </a:xfrm>
          <a:prstGeom prst="rect">
            <a:avLst/>
          </a:prstGeom>
        </p:spPr>
        <p:txBody>
          <a:bodyPr/>
          <a:lstStyle>
            <a:lvl1pPr marL="182880" indent="-182880">
              <a:defRPr sz="1800"/>
            </a:lvl1pPr>
            <a:lvl2pPr marL="434340" indent="-16002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4F7E2F-9309-F044-95A8-724576505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80292" y="1675049"/>
            <a:ext cx="2284507" cy="4542869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780" indent="-16002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82880" lvl="0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3A30ED-03D5-8E4C-BA77-C7B9FE1E2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294428-5C72-8748-93EF-13E57EFB8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8B66FB83-D657-2F47-983A-227AF0EE3C8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29723" y="1675049"/>
            <a:ext cx="2284507" cy="4542869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8660" indent="-34290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82880" lvl="0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2D95588D-E498-D94C-82B4-8BE9F0954C8C}"/>
              </a:ext>
            </a:extLst>
          </p:cNvPr>
          <p:cNvSpPr>
            <a:spLocks noGrp="1"/>
          </p:cNvSpPr>
          <p:nvPr userDrawn="1">
            <p:ph sz="half" idx="14"/>
          </p:nvPr>
        </p:nvSpPr>
        <p:spPr>
          <a:xfrm>
            <a:off x="9079154" y="1675049"/>
            <a:ext cx="2284507" cy="4542869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8660" indent="-34290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82880" lvl="0" indent="-18288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CBCDA48-191D-AE4E-91ED-CCE1B7E7D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39" y="397043"/>
            <a:ext cx="10535322" cy="462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F6BE81D-9927-3C4D-9602-F1DF34109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8339" y="890337"/>
            <a:ext cx="10535322" cy="3062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158376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40ACD07-DD5A-704E-AAD3-35B1E8FD6C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77974" y="6369894"/>
            <a:ext cx="11996935" cy="3749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C97517E-FAAB-6D46-AD3A-F593A940F8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025" y="6428850"/>
            <a:ext cx="1422027" cy="277175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158761-0834-124E-9763-0401408606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5F1F87-0A5E-6944-A42C-C8024C33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3785CCB-F75D-6E4F-A1BB-29343A600A4C}"/>
              </a:ext>
            </a:extLst>
          </p:cNvPr>
          <p:cNvSpPr/>
          <p:nvPr userDrawn="1"/>
        </p:nvSpPr>
        <p:spPr bwMode="auto">
          <a:xfrm>
            <a:off x="3512673" y="649355"/>
            <a:ext cx="7988028" cy="5120640"/>
          </a:xfrm>
          <a:prstGeom prst="roundRect">
            <a:avLst>
              <a:gd name="adj" fmla="val 2137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6BA7F91-6104-894D-8CB5-9B49F1336D8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83636" y="649355"/>
            <a:ext cx="7176260" cy="5127476"/>
          </a:xfrm>
        </p:spPr>
        <p:txBody>
          <a:bodyPr anchor="ctr">
            <a:noAutofit/>
          </a:bodyPr>
          <a:lstStyle/>
          <a:p>
            <a:pPr>
              <a:spcBef>
                <a:spcPts val="2400"/>
              </a:spcBef>
            </a:pPr>
            <a:r>
              <a:rPr lang="en-US" sz="2000"/>
              <a:t>Item 1</a:t>
            </a:r>
          </a:p>
          <a:p>
            <a:pPr>
              <a:spcBef>
                <a:spcPts val="2400"/>
              </a:spcBef>
            </a:pPr>
            <a:r>
              <a:rPr lang="en-US" sz="2000"/>
              <a:t>Item 2</a:t>
            </a:r>
          </a:p>
          <a:p>
            <a:pPr>
              <a:spcBef>
                <a:spcPts val="2400"/>
              </a:spcBef>
            </a:pPr>
            <a:r>
              <a:rPr lang="en-US" sz="2000"/>
              <a:t>Item 3</a:t>
            </a:r>
          </a:p>
          <a:p>
            <a:pPr>
              <a:spcBef>
                <a:spcPts val="2400"/>
              </a:spcBef>
            </a:pPr>
            <a:r>
              <a:rPr lang="en-US" sz="2000"/>
              <a:t>Item 4</a:t>
            </a:r>
          </a:p>
          <a:p>
            <a:pPr>
              <a:spcBef>
                <a:spcPts val="2400"/>
              </a:spcBef>
            </a:pPr>
            <a:r>
              <a:rPr lang="en-US" sz="2000"/>
              <a:t>Item 5</a:t>
            </a:r>
          </a:p>
          <a:p>
            <a:pPr>
              <a:spcBef>
                <a:spcPts val="2400"/>
              </a:spcBef>
            </a:pPr>
            <a:r>
              <a:rPr lang="en-US" sz="2000"/>
              <a:t>Item 6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9A9F152-E009-3948-BCAA-33014E93825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12673" y="603635"/>
            <a:ext cx="120809" cy="52120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3241C30-1AD3-984B-91DD-D7593421FFDE}"/>
              </a:ext>
            </a:extLst>
          </p:cNvPr>
          <p:cNvSpPr txBox="1"/>
          <p:nvPr userDrawn="1"/>
        </p:nvSpPr>
        <p:spPr>
          <a:xfrm>
            <a:off x="832104" y="656191"/>
            <a:ext cx="2471452" cy="512064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4200">
                <a:solidFill>
                  <a:schemeClr val="tx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181005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E4BC2B-C67D-9C4C-A0C8-EE0022B96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753EAD-2E1A-4043-B88D-8F4258144F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8A39E1BE-BEA9-3141-B1D0-D0662867DFF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91510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0C6A04-49F6-5F42-9152-CE6E7492FC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39" y="306204"/>
            <a:ext cx="10535322" cy="97170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326BA-A9A6-7E45-BA11-770D7C1E2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8339" y="1503947"/>
            <a:ext cx="10535322" cy="467301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defRPr/>
            </a:lvl1pPr>
            <a:lvl2pPr marL="708660" indent="-342900"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E4BC2B-C67D-9C4C-A0C8-EE0022B96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753EAD-2E1A-4043-B88D-8F4258144F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8A39E1BE-BEA9-3141-B1D0-D0662867D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59A8554-6333-AC45-ACC1-186A79EB95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648" y="301752"/>
            <a:ext cx="544148" cy="969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5979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40ACD07-DD5A-704E-AAD3-35B1E8FD6C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77974" y="6369894"/>
            <a:ext cx="11996935" cy="3749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C97517E-FAAB-6D46-AD3A-F593A940F8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025" y="6428850"/>
            <a:ext cx="1422027" cy="2771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97B2BFF-E10C-EE43-9458-58A7F6B85A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963" y="1399822"/>
            <a:ext cx="7897997" cy="2799645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600" i="0">
                <a:solidFill>
                  <a:schemeClr val="tx2"/>
                </a:solidFill>
              </a:defRPr>
            </a:lvl1pPr>
          </a:lstStyle>
          <a:p>
            <a:r>
              <a:rPr lang="en-US"/>
              <a:t>This is a sample quote slide. Type a brief quotation inside this textbox. Add a close quote mark at the end of the quotation.”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40DF82-B1DF-0943-A494-6F824BF64B0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520962" y="4361752"/>
            <a:ext cx="7897998" cy="37490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Name of person quote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158761-0834-124E-9763-0401408606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5F1F87-0A5E-6944-A42C-C8024C33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B9509C8-A4FB-3C4E-B6C6-B339154F96EF}"/>
              </a:ext>
            </a:extLst>
          </p:cNvPr>
          <p:cNvSpPr txBox="1">
            <a:spLocks/>
          </p:cNvSpPr>
          <p:nvPr userDrawn="1"/>
        </p:nvSpPr>
        <p:spPr>
          <a:xfrm>
            <a:off x="1470063" y="1703855"/>
            <a:ext cx="737381" cy="5314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i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6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“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1C5125C-B0D8-F74F-A1A7-D513F187B6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20950" y="4745175"/>
            <a:ext cx="7897813" cy="428625"/>
          </a:xfrm>
          <a:ln>
            <a:solidFill>
              <a:schemeClr val="tx2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, Company Name</a:t>
            </a:r>
          </a:p>
        </p:txBody>
      </p:sp>
    </p:spTree>
    <p:extLst>
      <p:ext uri="{BB962C8B-B14F-4D97-AF65-F5344CB8AC3E}">
        <p14:creationId xmlns:p14="http://schemas.microsoft.com/office/powerpoint/2010/main" val="69202878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Headsho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40ACD07-DD5A-704E-AAD3-35B1E8FD6C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77974" y="6369894"/>
            <a:ext cx="11996935" cy="3749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C97517E-FAAB-6D46-AD3A-F593A940F8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025" y="6428850"/>
            <a:ext cx="1422027" cy="2771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97B2BFF-E10C-EE43-9458-58A7F6B85A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963" y="1399823"/>
            <a:ext cx="7897997" cy="2473678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600" i="0">
                <a:solidFill>
                  <a:schemeClr val="tx2"/>
                </a:solidFill>
              </a:defRPr>
            </a:lvl1pPr>
          </a:lstStyle>
          <a:p>
            <a:r>
              <a:rPr lang="en-US"/>
              <a:t>This is a sample quote slide. Type a brief quotation inside this textbox. Add a close quote mark at the end of the quotation.”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40DF82-B1DF-0943-A494-6F824BF64B0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629162" y="4412552"/>
            <a:ext cx="5789798" cy="37490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Name of person quote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158761-0834-124E-9763-0401408606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5F1F87-0A5E-6944-A42C-C8024C33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B9509C8-A4FB-3C4E-B6C6-B339154F96EF}"/>
              </a:ext>
            </a:extLst>
          </p:cNvPr>
          <p:cNvSpPr txBox="1">
            <a:spLocks/>
          </p:cNvSpPr>
          <p:nvPr userDrawn="1"/>
        </p:nvSpPr>
        <p:spPr>
          <a:xfrm>
            <a:off x="1470063" y="1703855"/>
            <a:ext cx="737381" cy="5314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i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6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“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1C5125C-B0D8-F74F-A1A7-D513F187B6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29150" y="4795975"/>
            <a:ext cx="5789799" cy="428625"/>
          </a:xfrm>
          <a:ln>
            <a:solidFill>
              <a:schemeClr val="tx2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, Company Nam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9588641-26D7-2047-B14F-104D85ADE8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520963" y="3894287"/>
            <a:ext cx="1727187" cy="1727187"/>
          </a:xfrm>
          <a:prstGeom prst="roundRect">
            <a:avLst>
              <a:gd name="adj" fmla="val 8993"/>
            </a:avLst>
          </a:prstGeom>
          <a:solidFill>
            <a:schemeClr val="tx2"/>
          </a:solidFill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headshot</a:t>
            </a:r>
          </a:p>
        </p:txBody>
      </p:sp>
    </p:spTree>
    <p:extLst>
      <p:ext uri="{BB962C8B-B14F-4D97-AF65-F5344CB8AC3E}">
        <p14:creationId xmlns:p14="http://schemas.microsoft.com/office/powerpoint/2010/main" val="184585736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0C6A04-49F6-5F42-9152-CE6E7492FC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40" y="397043"/>
            <a:ext cx="10535322" cy="462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326BA-A9A6-7E45-BA11-770D7C1E2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8340" y="1673354"/>
            <a:ext cx="10535322" cy="4294311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  <a:lvl2pPr marL="708447" indent="-342797">
              <a:defRPr lang="en-US" sz="1999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965" indent="-285664">
              <a:defRPr lang="en-US" sz="1799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2615" indent="-285664"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265" indent="-285664"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447" lvl="1" indent="-342797" algn="l" defTabSz="914126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6965" lvl="2" indent="-285664" algn="l" defTabSz="914126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2615" lvl="3" indent="-285664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265" lvl="4" indent="-285664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E4BC2B-C67D-9C4C-A0C8-EE0022B96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3999" y="6426191"/>
            <a:ext cx="5692253" cy="288777"/>
          </a:xfrm>
        </p:spPr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3E3AE7B-923E-A049-8006-C53C6003CD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789" y="6426191"/>
            <a:ext cx="207926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A39E1BE-BEA9-3141-B1D0-D0662867DF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A79740-B03E-4F48-BCFE-C9FB840ABF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8340" y="890337"/>
            <a:ext cx="10535322" cy="3062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799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93244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0C6A04-49F6-5F42-9152-CE6E7492FC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326BA-A9A6-7E45-BA11-770D7C1E2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8339" y="1673352"/>
            <a:ext cx="10535322" cy="4361688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  <a:lvl2pPr marL="708660" indent="-342900">
              <a:buSzPct val="100000"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buSzPct val="100000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buSzPct val="10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buSzPct val="10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E4BC2B-C67D-9C4C-A0C8-EE0022B96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3998" y="6426189"/>
            <a:ext cx="5692253" cy="288777"/>
          </a:xfrm>
        </p:spPr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3E3AE7B-923E-A049-8006-C53C6003CD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789" y="6426189"/>
            <a:ext cx="207926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A39E1BE-BEA9-3141-B1D0-D0662867DFF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63940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0C6A04-49F6-5F42-9152-CE6E7492FC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326BA-A9A6-7E45-BA11-770D7C1E2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8340" y="1673352"/>
            <a:ext cx="10535322" cy="4361688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  <a:lvl2pPr marL="708447" indent="-342797">
              <a:buSzPct val="100000"/>
              <a:defRPr lang="en-US" sz="1999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965" indent="-285664">
              <a:buSzPct val="100000"/>
              <a:defRPr lang="en-US" sz="1799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2615" indent="-285664">
              <a:buSzPct val="10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265" indent="-285664">
              <a:buSzPct val="100000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447" lvl="1" indent="-342797" algn="l" defTabSz="914126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6965" lvl="2" indent="-285664" algn="l" defTabSz="914126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2615" lvl="3" indent="-285664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265" lvl="4" indent="-285664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E4BC2B-C67D-9C4C-A0C8-EE0022B96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3999" y="6426191"/>
            <a:ext cx="5692253" cy="288777"/>
          </a:xfrm>
        </p:spPr>
        <p:txBody>
          <a:bodyPr/>
          <a:lstStyle/>
          <a:p>
            <a:r>
              <a:rPr lang="en-US"/>
              <a:t>Copyright © 21 Veritas Technologies LLC  |  CONFIDENTIAL 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3E3AE7B-923E-A049-8006-C53C6003CD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789" y="6426191"/>
            <a:ext cx="207926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A39E1BE-BEA9-3141-B1D0-D0662867DFF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63940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 Sub 2 Box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77E1744-C6B4-5240-95DD-6DCF60313FD9}"/>
              </a:ext>
            </a:extLst>
          </p:cNvPr>
          <p:cNvSpPr/>
          <p:nvPr userDrawn="1"/>
        </p:nvSpPr>
        <p:spPr bwMode="auto">
          <a:xfrm>
            <a:off x="839788" y="1468708"/>
            <a:ext cx="5157787" cy="4566004"/>
          </a:xfrm>
          <a:prstGeom prst="roundRect">
            <a:avLst>
              <a:gd name="adj" fmla="val 2979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1">
              <a:solidFill>
                <a:schemeClr val="bg2">
                  <a:lumMod val="50000"/>
                </a:schemeClr>
              </a:solidFill>
              <a:latin typeface="Polaris Book" panose="02000000000000000000" pitchFamily="2" charset="77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9DA7545D-3E75-5742-A6C3-E762A16AEF9C}"/>
              </a:ext>
            </a:extLst>
          </p:cNvPr>
          <p:cNvSpPr/>
          <p:nvPr userDrawn="1"/>
        </p:nvSpPr>
        <p:spPr bwMode="auto">
          <a:xfrm>
            <a:off x="6197601" y="1468708"/>
            <a:ext cx="5157787" cy="4566004"/>
          </a:xfrm>
          <a:prstGeom prst="roundRect">
            <a:avLst>
              <a:gd name="adj" fmla="val 2979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1">
              <a:solidFill>
                <a:schemeClr val="bg2">
                  <a:lumMod val="50000"/>
                </a:schemeClr>
              </a:solidFill>
              <a:latin typeface="Polaris Book" panose="02000000000000000000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126722-D280-E146-BDAB-3C20526AA5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76674" y="1732981"/>
            <a:ext cx="4539686" cy="46199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3AE8-908F-2143-A058-EC3A2B44D2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76674" y="2367137"/>
            <a:ext cx="4539686" cy="340330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4C3270-79F2-3E42-9195-790A3A9A76D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34486" y="1732981"/>
            <a:ext cx="4570663" cy="46199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A3274DB-9D92-0647-B9D5-B2571AFA4F0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34486" y="2367137"/>
            <a:ext cx="4570663" cy="340330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596E7DA-A453-0946-A77E-41E1B5C8DA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6F1870-3035-784F-B3CF-2957F96B0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B89CE7-62EA-E346-9C5C-A9BCC1A7C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39" y="397043"/>
            <a:ext cx="10535322" cy="462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370E0B9-2600-224C-8270-0AA8A71705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339" y="890337"/>
            <a:ext cx="10535322" cy="3062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430695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.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C1960183-D323-4677-9D78-78D1D39B0029}" type="slidenum">
              <a:rPr lang="uk-UA" smtClean="0">
                <a:solidFill>
                  <a:srgbClr val="2C2C2B">
                    <a:lumMod val="60000"/>
                    <a:lumOff val="40000"/>
                  </a:srgbClr>
                </a:solidFill>
              </a:rPr>
              <a:pPr algn="l"/>
              <a:t>‹#›</a:t>
            </a:fld>
            <a:endParaRPr lang="uk-UA">
              <a:solidFill>
                <a:srgbClr val="2C2C2B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7601" y="6488684"/>
            <a:ext cx="5949075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0000"/>
                    <a:lumOff val="40000"/>
                  </a:schemeClr>
                </a:solidFill>
                <a:latin typeface="Polaris-Book"/>
              </a:defRPr>
            </a:lvl1pPr>
          </a:lstStyle>
          <a:p>
            <a:r>
              <a:rPr lang="en-US">
                <a:solidFill>
                  <a:srgbClr val="2C2C2B">
                    <a:lumMod val="60000"/>
                    <a:lumOff val="40000"/>
                  </a:srgbClr>
                </a:solidFill>
                <a:latin typeface="Corbel"/>
              </a:rPr>
              <a:t>Copyright © 2018 Veritas Technologies. All rights reserved. Partner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9973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6E8F81-1043-467C-9563-08AB0C76A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142F30-F603-40C7-B1B8-BCA20E7F41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87C84-17FF-487B-88B0-135A36C0173D}" type="datetimeFigureOut">
              <a:rPr lang="en-US" smtClean="0"/>
              <a:t>10/4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3921C3-239C-4AC2-9C02-56A75EF7C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6B0905-34D6-4A06-912E-654B7F8ED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AB95-D649-417C-B596-5370EDCD0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443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0C6A04-49F6-5F42-9152-CE6E7492FC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39" y="397043"/>
            <a:ext cx="10535322" cy="462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326BA-A9A6-7E45-BA11-770D7C1E2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8339" y="1673352"/>
            <a:ext cx="10535322" cy="4294311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  <a:lvl2pPr marL="708660" indent="-342900"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E4BC2B-C67D-9C4C-A0C8-EE0022B96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3998" y="6426189"/>
            <a:ext cx="5692253" cy="288777"/>
          </a:xfrm>
        </p:spPr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3E3AE7B-923E-A049-8006-C53C6003CD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789" y="6426189"/>
            <a:ext cx="207926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A39E1BE-BEA9-3141-B1D0-D0662867DF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A79740-B03E-4F48-BCFE-C9FB840ABF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8339" y="890337"/>
            <a:ext cx="10535322" cy="3062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93244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244A8-F821-A846-A4AA-914F6CA1B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E2DB70-E24B-1C4D-9A16-4322EF486A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675049"/>
            <a:ext cx="5006829" cy="4542869"/>
          </a:xfrm>
          <a:prstGeom prst="rect">
            <a:avLst/>
          </a:prstGeom>
        </p:spPr>
        <p:txBody>
          <a:bodyPr/>
          <a:lstStyle>
            <a:lvl2pPr marL="708660" indent="-342900"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4F7E2F-9309-F044-95A8-724576505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56832" y="1675049"/>
            <a:ext cx="5006829" cy="4542869"/>
          </a:xfrm>
          <a:prstGeom prst="rect">
            <a:avLst/>
          </a:prstGeom>
        </p:spPr>
        <p:txBody>
          <a:bodyPr/>
          <a:lstStyle>
            <a:lvl2pPr marL="708660" indent="-342900"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3A30ED-03D5-8E4C-BA77-C7B9FE1E2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294428-5C72-8748-93EF-13E57EFB8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97801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 Sub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E2DB70-E24B-1C4D-9A16-4322EF486A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675049"/>
            <a:ext cx="5006829" cy="4542869"/>
          </a:xfrm>
          <a:prstGeom prst="rect">
            <a:avLst/>
          </a:prstGeom>
        </p:spPr>
        <p:txBody>
          <a:bodyPr/>
          <a:lstStyle>
            <a:lvl2pPr marL="708660" indent="-342900"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4F7E2F-9309-F044-95A8-724576505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56832" y="1675049"/>
            <a:ext cx="5006829" cy="4542869"/>
          </a:xfrm>
          <a:prstGeom prst="rect">
            <a:avLst/>
          </a:prstGeom>
        </p:spPr>
        <p:txBody>
          <a:bodyPr/>
          <a:lstStyle>
            <a:lvl2pPr marL="708660" indent="-342900"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3A30ED-03D5-8E4C-BA77-C7B9FE1E2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294428-5C72-8748-93EF-13E57EFB8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9390B1D-A7DC-8F4F-83BB-FFC807376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39" y="397043"/>
            <a:ext cx="10535322" cy="462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FE0ABEC-B50D-E247-A5B3-064B4367D9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339" y="890337"/>
            <a:ext cx="10535322" cy="3062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8106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 2 Box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77E1744-C6B4-5240-95DD-6DCF60313FD9}"/>
              </a:ext>
            </a:extLst>
          </p:cNvPr>
          <p:cNvSpPr/>
          <p:nvPr userDrawn="1"/>
        </p:nvSpPr>
        <p:spPr bwMode="auto">
          <a:xfrm>
            <a:off x="839788" y="1468708"/>
            <a:ext cx="5157787" cy="4566004"/>
          </a:xfrm>
          <a:prstGeom prst="roundRect">
            <a:avLst>
              <a:gd name="adj" fmla="val 2979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1">
              <a:solidFill>
                <a:schemeClr val="bg2">
                  <a:lumMod val="50000"/>
                </a:schemeClr>
              </a:solidFill>
              <a:latin typeface="Polaris Book" panose="02000000000000000000" pitchFamily="2" charset="77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9DA7545D-3E75-5742-A6C3-E762A16AEF9C}"/>
              </a:ext>
            </a:extLst>
          </p:cNvPr>
          <p:cNvSpPr/>
          <p:nvPr userDrawn="1"/>
        </p:nvSpPr>
        <p:spPr bwMode="auto">
          <a:xfrm>
            <a:off x="6197601" y="1468708"/>
            <a:ext cx="5157787" cy="4566004"/>
          </a:xfrm>
          <a:prstGeom prst="roundRect">
            <a:avLst>
              <a:gd name="adj" fmla="val 2979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1">
              <a:solidFill>
                <a:schemeClr val="bg2">
                  <a:lumMod val="50000"/>
                </a:schemeClr>
              </a:solidFill>
              <a:latin typeface="Polaris Book" panose="02000000000000000000" pitchFamily="2" charset="77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E9E99C-E59F-6B44-9D46-E114D4149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04922"/>
            <a:ext cx="10515600" cy="9717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126722-D280-E146-BDAB-3C20526AA5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76674" y="1732981"/>
            <a:ext cx="4539686" cy="46199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3AE8-908F-2143-A058-EC3A2B44D2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76674" y="2367137"/>
            <a:ext cx="4539686" cy="340330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4C3270-79F2-3E42-9195-790A3A9A76D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34486" y="1732981"/>
            <a:ext cx="4570663" cy="46199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A3274DB-9D92-0647-B9D5-B2571AFA4F0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34486" y="2367137"/>
            <a:ext cx="4570663" cy="340330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596E7DA-A453-0946-A77E-41E1B5C8DA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6F1870-3035-784F-B3CF-2957F96B0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13609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 Sub 2 Box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77E1744-C6B4-5240-95DD-6DCF60313FD9}"/>
              </a:ext>
            </a:extLst>
          </p:cNvPr>
          <p:cNvSpPr/>
          <p:nvPr userDrawn="1"/>
        </p:nvSpPr>
        <p:spPr bwMode="auto">
          <a:xfrm>
            <a:off x="839788" y="1468708"/>
            <a:ext cx="5157787" cy="4566004"/>
          </a:xfrm>
          <a:prstGeom prst="roundRect">
            <a:avLst>
              <a:gd name="adj" fmla="val 2979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1">
              <a:solidFill>
                <a:schemeClr val="bg2">
                  <a:lumMod val="50000"/>
                </a:schemeClr>
              </a:solidFill>
              <a:latin typeface="Polaris Book" panose="02000000000000000000" pitchFamily="2" charset="77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9DA7545D-3E75-5742-A6C3-E762A16AEF9C}"/>
              </a:ext>
            </a:extLst>
          </p:cNvPr>
          <p:cNvSpPr/>
          <p:nvPr userDrawn="1"/>
        </p:nvSpPr>
        <p:spPr bwMode="auto">
          <a:xfrm>
            <a:off x="6197601" y="1468708"/>
            <a:ext cx="5157787" cy="4566004"/>
          </a:xfrm>
          <a:prstGeom prst="roundRect">
            <a:avLst>
              <a:gd name="adj" fmla="val 2979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317500" dist="63500" dir="5400000" algn="ctr" rotWithShape="0">
              <a:schemeClr val="tx1">
                <a:alpha val="2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800" b="1">
              <a:solidFill>
                <a:schemeClr val="bg2">
                  <a:lumMod val="50000"/>
                </a:schemeClr>
              </a:solidFill>
              <a:latin typeface="Polaris Book" panose="02000000000000000000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126722-D280-E146-BDAB-3C20526AA5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76674" y="1732981"/>
            <a:ext cx="4539686" cy="46199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73AE8-908F-2143-A058-EC3A2B44D2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76674" y="2367137"/>
            <a:ext cx="4539686" cy="340330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4C3270-79F2-3E42-9195-790A3A9A76D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34486" y="1732981"/>
            <a:ext cx="4570663" cy="46199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A3274DB-9D92-0647-B9D5-B2571AFA4F0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34486" y="2367137"/>
            <a:ext cx="4570663" cy="340330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596E7DA-A453-0946-A77E-41E1B5C8DA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6F1870-3035-784F-B3CF-2957F96B0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6B89CE7-62EA-E346-9C5C-A9BCC1A7C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39" y="397043"/>
            <a:ext cx="10535322" cy="462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370E0B9-2600-224C-8270-0AA8A71705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339" y="890337"/>
            <a:ext cx="10535322" cy="3062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430695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 3 Colum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244A8-F821-A846-A4AA-914F6CA1B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E2DB70-E24B-1C4D-9A16-4322EF486A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675049"/>
            <a:ext cx="3232439" cy="4542869"/>
          </a:xfrm>
          <a:prstGeom prst="rect">
            <a:avLst/>
          </a:prstGeom>
        </p:spPr>
        <p:txBody>
          <a:bodyPr/>
          <a:lstStyle>
            <a:lvl2pPr marL="708660" indent="-342900"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4F7E2F-9309-F044-95A8-724576505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74295" y="1675049"/>
            <a:ext cx="3242855" cy="4542869"/>
          </a:xfrm>
          <a:prstGeom prst="rect">
            <a:avLst/>
          </a:prstGeom>
        </p:spPr>
        <p:txBody>
          <a:bodyPr/>
          <a:lstStyle>
            <a:lvl2pPr marL="708660" indent="-342900"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3A30ED-03D5-8E4C-BA77-C7B9FE1E2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294428-5C72-8748-93EF-13E57EFB8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8B66FB83-D657-2F47-983A-227AF0EE3C8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20806" y="1675049"/>
            <a:ext cx="3242855" cy="4542869"/>
          </a:xfrm>
          <a:prstGeom prst="rect">
            <a:avLst/>
          </a:prstGeom>
        </p:spPr>
        <p:txBody>
          <a:bodyPr/>
          <a:lstStyle>
            <a:lvl2pPr marL="708660" indent="-342900"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924910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 Sub 3 Colum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E2DB70-E24B-1C4D-9A16-4322EF486A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675049"/>
            <a:ext cx="3232439" cy="4542869"/>
          </a:xfrm>
          <a:prstGeom prst="rect">
            <a:avLst/>
          </a:prstGeom>
        </p:spPr>
        <p:txBody>
          <a:bodyPr/>
          <a:lstStyle>
            <a:lvl2pPr marL="708660" indent="-342900"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4F7E2F-9309-F044-95A8-724576505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74295" y="1675049"/>
            <a:ext cx="3242855" cy="4542869"/>
          </a:xfrm>
          <a:prstGeom prst="rect">
            <a:avLst/>
          </a:prstGeom>
        </p:spPr>
        <p:txBody>
          <a:bodyPr/>
          <a:lstStyle>
            <a:lvl2pPr marL="708660" indent="-342900"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3A30ED-03D5-8E4C-BA77-C7B9FE1E2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294428-5C72-8748-93EF-13E57EFB8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39E1BE-BEA9-3141-B1D0-D0662867DF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8B66FB83-D657-2F47-983A-227AF0EE3C8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20806" y="1675049"/>
            <a:ext cx="3242855" cy="4542869"/>
          </a:xfrm>
          <a:prstGeom prst="rect">
            <a:avLst/>
          </a:prstGeom>
        </p:spPr>
        <p:txBody>
          <a:bodyPr/>
          <a:lstStyle>
            <a:lvl2pPr marL="708660" indent="-342900"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7270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3030" indent="-28575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48790" indent="-285750"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D82C853-1CA4-4E43-A39A-56073D4B5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39" y="397043"/>
            <a:ext cx="10535322" cy="462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767F2C1-8131-E448-96F8-150F179FCA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339" y="890337"/>
            <a:ext cx="10535322" cy="3062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687080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sv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sv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sv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sv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1597594-3497-9540-8C13-D61D74A07823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77974" y="6369894"/>
            <a:ext cx="11996935" cy="3749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1F2ACB0-5963-E64A-BE0D-80CB262C4BF6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025" y="6428850"/>
            <a:ext cx="1422027" cy="277175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7F902E-50F1-3748-A94C-4EDA0C895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39" y="306204"/>
            <a:ext cx="10535322" cy="9717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A9371E-8E8F-1D4C-A74A-9AC8282DE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8339" y="1673352"/>
            <a:ext cx="10535322" cy="43616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1128A-D6DE-D84C-AD6C-D6F3F0EDE8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998" y="6426189"/>
            <a:ext cx="5692253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213FE6-4650-1349-ADB3-8360764E1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789" y="6426189"/>
            <a:ext cx="207926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A39E1BE-BEA9-3141-B1D0-D0662867D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802D119-F655-5645-B575-09ED9D97A8C5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-1648" y="301752"/>
            <a:ext cx="544148" cy="969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135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699" r:id="rId2"/>
    <p:sldLayoutId id="2147483700" r:id="rId3"/>
    <p:sldLayoutId id="2147483706" r:id="rId4"/>
    <p:sldLayoutId id="2147483759" r:id="rId5"/>
    <p:sldLayoutId id="2147483711" r:id="rId6"/>
    <p:sldLayoutId id="2147483760" r:id="rId7"/>
    <p:sldLayoutId id="2147483708" r:id="rId8"/>
    <p:sldLayoutId id="2147483761" r:id="rId9"/>
    <p:sldLayoutId id="2147483709" r:id="rId10"/>
    <p:sldLayoutId id="2147483762" r:id="rId11"/>
    <p:sldLayoutId id="2147483710" r:id="rId12"/>
    <p:sldLayoutId id="214748376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8660" indent="-342900" algn="l" defTabSz="914400" rtl="0" eaLnBrk="1" latinLnBrk="0" hangingPunct="1">
        <a:lnSpc>
          <a:spcPct val="90000"/>
        </a:lnSpc>
        <a:spcBef>
          <a:spcPts val="800"/>
        </a:spcBef>
        <a:buClr>
          <a:srgbClr val="B3B3B4"/>
        </a:buClr>
        <a:buSzPct val="80000"/>
        <a:buFont typeface="Wingdings" pitchFamily="2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017270" indent="-285750" algn="l" defTabSz="914400" rtl="0" eaLnBrk="1" latinLnBrk="0" hangingPunct="1">
        <a:lnSpc>
          <a:spcPct val="90000"/>
        </a:lnSpc>
        <a:spcBef>
          <a:spcPts val="700"/>
        </a:spcBef>
        <a:buClr>
          <a:srgbClr val="B3B3B4"/>
        </a:buClr>
        <a:buSzPct val="100000"/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38303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74879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7F902E-50F1-3748-A94C-4EDA0C895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39" y="306204"/>
            <a:ext cx="10535322" cy="9717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A9371E-8E8F-1D4C-A74A-9AC8282DE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8339" y="1673352"/>
            <a:ext cx="10535322" cy="46730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SzPct val="85000"/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1128A-D6DE-D84C-AD6C-D6F3F0EDE8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998" y="6426189"/>
            <a:ext cx="5692253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213FE6-4650-1349-ADB3-8360764E1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789" y="6426189"/>
            <a:ext cx="207926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A39E1BE-BEA9-3141-B1D0-D0662867DFF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3756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30" r:id="rId2"/>
    <p:sldLayoutId id="2147483756" r:id="rId3"/>
    <p:sldLayoutId id="2147483754" r:id="rId4"/>
    <p:sldLayoutId id="2147483755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866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SzPct val="80000"/>
        <a:buFont typeface="Wingdings" pitchFamily="2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01727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SzPct val="100000"/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38303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74879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1597594-3497-9540-8C13-D61D74A0782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77973" y="6369894"/>
            <a:ext cx="11996935" cy="3749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1F2ACB0-5963-E64A-BE0D-80CB262C4B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026" y="6428852"/>
            <a:ext cx="1422027" cy="277175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7F902E-50F1-3748-A94C-4EDA0C895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40" y="306204"/>
            <a:ext cx="10535322" cy="9717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A9371E-8E8F-1D4C-A74A-9AC8282DE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8340" y="1673352"/>
            <a:ext cx="10535322" cy="43616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708447" lvl="1" indent="-342797" algn="l" defTabSz="914126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6965" lvl="2" indent="-285664" algn="l" defTabSz="914126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2615" lvl="3" indent="-285664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265" lvl="4" indent="-285664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1128A-D6DE-D84C-AD6C-D6F3F0EDE8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999" y="6426191"/>
            <a:ext cx="5692253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213FE6-4650-1349-ADB3-8360764E1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789" y="6426191"/>
            <a:ext cx="207926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A39E1BE-BEA9-3141-B1D0-D0662867D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802D119-F655-5645-B575-09ED9D97A8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648" y="301752"/>
            <a:ext cx="544148" cy="969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135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8660" indent="-342900" algn="l" defTabSz="914400" rtl="0" eaLnBrk="1" latinLnBrk="0" hangingPunct="1">
        <a:lnSpc>
          <a:spcPct val="90000"/>
        </a:lnSpc>
        <a:spcBef>
          <a:spcPts val="800"/>
        </a:spcBef>
        <a:buClr>
          <a:srgbClr val="B3B3B4"/>
        </a:buClr>
        <a:buSzPct val="80000"/>
        <a:buFont typeface="Wingdings" pitchFamily="2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017270" indent="-285750" algn="l" defTabSz="914400" rtl="0" eaLnBrk="1" latinLnBrk="0" hangingPunct="1">
        <a:lnSpc>
          <a:spcPct val="90000"/>
        </a:lnSpc>
        <a:spcBef>
          <a:spcPts val="700"/>
        </a:spcBef>
        <a:buClr>
          <a:srgbClr val="B3B3B4"/>
        </a:buClr>
        <a:buSzPct val="100000"/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38303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74879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1597594-3497-9540-8C13-D61D74A078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77973" y="6369894"/>
            <a:ext cx="11996935" cy="3749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1F2ACB0-5963-E64A-BE0D-80CB262C4BF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026" y="6428852"/>
            <a:ext cx="1422027" cy="277175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7F902E-50F1-3748-A94C-4EDA0C895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40" y="306204"/>
            <a:ext cx="10535322" cy="9717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A9371E-8E8F-1D4C-A74A-9AC8282DE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8340" y="1673352"/>
            <a:ext cx="10535322" cy="43616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708447" lvl="1" indent="-342797" algn="l" defTabSz="914126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6965" lvl="2" indent="-285664" algn="l" defTabSz="914126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2615" lvl="3" indent="-285664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265" lvl="4" indent="-285664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1128A-D6DE-D84C-AD6C-D6F3F0EDE8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999" y="6426191"/>
            <a:ext cx="5692253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opyright © 21 Veritas Technologies LLC  |  CONFIDENTIA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213FE6-4650-1349-ADB3-8360764E1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789" y="6426191"/>
            <a:ext cx="207926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A39E1BE-BEA9-3141-B1D0-D0662867D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802D119-F655-5645-B575-09ED9D97A8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648" y="301752"/>
            <a:ext cx="544148" cy="969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135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8660" indent="-342900" algn="l" defTabSz="914400" rtl="0" eaLnBrk="1" latinLnBrk="0" hangingPunct="1">
        <a:lnSpc>
          <a:spcPct val="90000"/>
        </a:lnSpc>
        <a:spcBef>
          <a:spcPts val="800"/>
        </a:spcBef>
        <a:buClr>
          <a:srgbClr val="B3B3B4"/>
        </a:buClr>
        <a:buSzPct val="80000"/>
        <a:buFont typeface="Wingdings" pitchFamily="2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017270" indent="-285750" algn="l" defTabSz="914400" rtl="0" eaLnBrk="1" latinLnBrk="0" hangingPunct="1">
        <a:lnSpc>
          <a:spcPct val="90000"/>
        </a:lnSpc>
        <a:spcBef>
          <a:spcPts val="700"/>
        </a:spcBef>
        <a:buClr>
          <a:srgbClr val="B3B3B4"/>
        </a:buClr>
        <a:buSzPct val="100000"/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38303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74879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1597594-3497-9540-8C13-D61D74A0782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77974" y="6369894"/>
            <a:ext cx="11996935" cy="3749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1F2ACB0-5963-E64A-BE0D-80CB262C4B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025" y="6428850"/>
            <a:ext cx="1422027" cy="277175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7F902E-50F1-3748-A94C-4EDA0C895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39" y="306204"/>
            <a:ext cx="10535322" cy="9717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A9371E-8E8F-1D4C-A74A-9AC8282DE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8339" y="1673352"/>
            <a:ext cx="10535322" cy="43616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1128A-D6DE-D84C-AD6C-D6F3F0EDE8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998" y="6426189"/>
            <a:ext cx="5692253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opyright © 2021 Veritas Technologies LLC  |  CONFIDENTIA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213FE6-4650-1349-ADB3-8360764E1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789" y="6426189"/>
            <a:ext cx="207926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A39E1BE-BEA9-3141-B1D0-D0662867D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802D119-F655-5645-B575-09ED9D97A8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648" y="301752"/>
            <a:ext cx="544148" cy="969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135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8660" indent="-342900" algn="l" defTabSz="914400" rtl="0" eaLnBrk="1" latinLnBrk="0" hangingPunct="1">
        <a:lnSpc>
          <a:spcPct val="90000"/>
        </a:lnSpc>
        <a:spcBef>
          <a:spcPts val="800"/>
        </a:spcBef>
        <a:buClr>
          <a:srgbClr val="B3B3B4"/>
        </a:buClr>
        <a:buSzPct val="80000"/>
        <a:buFont typeface="Wingdings" pitchFamily="2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017270" indent="-285750" algn="l" defTabSz="914400" rtl="0" eaLnBrk="1" latinLnBrk="0" hangingPunct="1">
        <a:lnSpc>
          <a:spcPct val="90000"/>
        </a:lnSpc>
        <a:spcBef>
          <a:spcPts val="700"/>
        </a:spcBef>
        <a:buClr>
          <a:srgbClr val="B3B3B4"/>
        </a:buClr>
        <a:buSzPct val="100000"/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38303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74879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11FF818-89D2-4B64-BB0B-09AA362CFB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11FF818-89D2-4B64-BB0B-09AA362CFB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F151D75-D292-4253-82F5-2A8A9927C19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58791" cy="158750"/>
          </a:xfrm>
          <a:prstGeom prst="rect">
            <a:avLst/>
          </a:prstGeom>
          <a:noFill/>
          <a:ln w="254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</a:pPr>
            <a:endParaRPr lang="en-US" sz="3198" b="1" i="0" baseline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3" y="304800"/>
            <a:ext cx="10972797" cy="8382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447800"/>
            <a:ext cx="10972801" cy="44958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Slide Number Placeholder 8">
            <a:extLst>
              <a:ext uri="{FF2B5EF4-FFF2-40B4-BE49-F238E27FC236}">
                <a16:creationId xmlns:a16="http://schemas.microsoft.com/office/drawing/2014/main" id="{2C0EB715-04ED-CE42-824F-A0867BEA50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0" y="6350734"/>
            <a:ext cx="406400" cy="202378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Polaris Book Italic" panose="02000000000000000000" pitchFamily="2" charset="0"/>
                <a:cs typeface="Arial" panose="020B0604020202020204" pitchFamily="34" charset="0"/>
              </a:defRPr>
            </a:lvl1pPr>
          </a:lstStyle>
          <a:p>
            <a:fld id="{C1960183-D323-4677-9D78-78D1D39B00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6">
            <a:extLst>
              <a:ext uri="{FF2B5EF4-FFF2-40B4-BE49-F238E27FC236}">
                <a16:creationId xmlns:a16="http://schemas.microsoft.com/office/drawing/2014/main" id="{CEFDAD83-941D-CF44-AD84-35C3159182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61686" y="6350734"/>
            <a:ext cx="1422400" cy="202378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Polaris Book Italic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BC12E026-54C4-C64E-9AC7-A0A91007DE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17603" y="6350734"/>
            <a:ext cx="3101537" cy="202378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Polaris Book Italic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Copyright © 2020 Veritas Technologies, LLC.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348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3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3198" b="1" i="0" kern="1200" spc="0">
          <a:solidFill>
            <a:schemeClr val="tx1"/>
          </a:solidFill>
          <a:latin typeface="Arial" panose="020B0604020202020204" pitchFamily="34" charset="0"/>
          <a:ea typeface="Polaris Medium" panose="02000000000000000000" pitchFamily="2" charset="0"/>
          <a:cs typeface="Arial" panose="020B0604020202020204" pitchFamily="34" charset="0"/>
        </a:defRPr>
      </a:lvl1pPr>
    </p:titleStyle>
    <p:bodyStyle>
      <a:lvl1pPr marL="228462" indent="-228462" algn="l" defTabSz="913852" rtl="0" eaLnBrk="1" latinLnBrk="0" hangingPunct="1">
        <a:lnSpc>
          <a:spcPct val="90000"/>
        </a:lnSpc>
        <a:spcBef>
          <a:spcPts val="1798"/>
        </a:spcBef>
        <a:buClr>
          <a:srgbClr val="B3B3B4"/>
        </a:buClr>
        <a:buFont typeface="Arial" panose="020B0604020202020204" pitchFamily="34" charset="0"/>
        <a:buChar char="•"/>
        <a:defRPr sz="2398" b="0" i="0" kern="1200">
          <a:solidFill>
            <a:schemeClr val="tx1"/>
          </a:solidFill>
          <a:latin typeface="Arial" panose="020B0604020202020204" pitchFamily="34" charset="0"/>
          <a:ea typeface="Polaris Book Italic" panose="02000000000000000000" pitchFamily="2" charset="0"/>
          <a:cs typeface="Arial" panose="020B0604020202020204" pitchFamily="34" charset="0"/>
        </a:defRPr>
      </a:lvl1pPr>
      <a:lvl2pPr marL="502618" indent="-182770" algn="l" defTabSz="913852" rtl="0" eaLnBrk="1" latinLnBrk="0" hangingPunct="1">
        <a:lnSpc>
          <a:spcPct val="90000"/>
        </a:lnSpc>
        <a:spcBef>
          <a:spcPts val="800"/>
        </a:spcBef>
        <a:buClr>
          <a:srgbClr val="B3B3B4"/>
        </a:buClr>
        <a:buFont typeface="Arial" panose="020B0604020202020204" pitchFamily="34" charset="0"/>
        <a:buChar char="–"/>
        <a:defRPr sz="1998" b="0" i="0" kern="1200">
          <a:solidFill>
            <a:schemeClr val="tx1"/>
          </a:solidFill>
          <a:latin typeface="Arial" panose="020B0604020202020204" pitchFamily="34" charset="0"/>
          <a:ea typeface="Polaris Book Italic" panose="02000000000000000000" pitchFamily="2" charset="0"/>
          <a:cs typeface="Arial" panose="020B0604020202020204" pitchFamily="34" charset="0"/>
        </a:defRPr>
      </a:lvl2pPr>
      <a:lvl3pPr marL="731082" indent="-182770" algn="l" defTabSz="913852" rtl="0" eaLnBrk="1" latinLnBrk="0" hangingPunct="1">
        <a:lnSpc>
          <a:spcPct val="90000"/>
        </a:lnSpc>
        <a:spcBef>
          <a:spcPts val="600"/>
        </a:spcBef>
        <a:buClr>
          <a:srgbClr val="B3B3B4"/>
        </a:buClr>
        <a:buFont typeface="Arial" panose="020B0604020202020204" pitchFamily="34" charset="0"/>
        <a:buChar char="•"/>
        <a:defRPr sz="1798" b="0" i="0" kern="1200">
          <a:solidFill>
            <a:schemeClr val="tx1"/>
          </a:solidFill>
          <a:latin typeface="Arial" panose="020B0604020202020204" pitchFamily="34" charset="0"/>
          <a:ea typeface="Polaris Book Italic" panose="02000000000000000000" pitchFamily="2" charset="0"/>
          <a:cs typeface="Arial" panose="020B0604020202020204" pitchFamily="34" charset="0"/>
        </a:defRPr>
      </a:lvl3pPr>
      <a:lvl4pPr marL="959544" indent="-182770" algn="l" defTabSz="913852" rtl="0" eaLnBrk="1" latinLnBrk="0" hangingPunct="1">
        <a:lnSpc>
          <a:spcPct val="90000"/>
        </a:lnSpc>
        <a:spcBef>
          <a:spcPts val="600"/>
        </a:spcBef>
        <a:buClr>
          <a:srgbClr val="B3B3B4"/>
        </a:buClr>
        <a:buFont typeface="Arial" panose="020B0604020202020204" pitchFamily="34" charset="0"/>
        <a:buChar char="–"/>
        <a:defRPr sz="1600" b="0" i="0" kern="1200">
          <a:solidFill>
            <a:schemeClr val="tx1"/>
          </a:solidFill>
          <a:latin typeface="Arial" panose="020B0604020202020204" pitchFamily="34" charset="0"/>
          <a:ea typeface="Polaris Book Italic" panose="02000000000000000000" pitchFamily="2" charset="0"/>
          <a:cs typeface="Arial" panose="020B0604020202020204" pitchFamily="34" charset="0"/>
        </a:defRPr>
      </a:lvl4pPr>
      <a:lvl5pPr marL="1188006" indent="-182770" algn="l" defTabSz="913852" rtl="0" eaLnBrk="1" latinLnBrk="0" hangingPunct="1">
        <a:lnSpc>
          <a:spcPct val="90000"/>
        </a:lnSpc>
        <a:spcBef>
          <a:spcPts val="600"/>
        </a:spcBef>
        <a:buClr>
          <a:srgbClr val="B3B3B4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rial" panose="020B0604020202020204" pitchFamily="34" charset="0"/>
          <a:ea typeface="Polaris Book Italic" panose="02000000000000000000" pitchFamily="2" charset="0"/>
          <a:cs typeface="Arial" panose="020B0604020202020204" pitchFamily="34" charset="0"/>
        </a:defRPr>
      </a:lvl5pPr>
      <a:lvl6pPr marL="1416470" indent="-182770" algn="l" defTabSz="913852" rtl="0" eaLnBrk="1" latinLnBrk="0" hangingPunct="1">
        <a:lnSpc>
          <a:spcPct val="90000"/>
        </a:lnSpc>
        <a:spcBef>
          <a:spcPts val="600"/>
        </a:spcBef>
        <a:buClr>
          <a:srgbClr val="B3B3B4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44932" indent="-182770" algn="l" defTabSz="913852" rtl="0" eaLnBrk="1" latinLnBrk="0" hangingPunct="1">
        <a:lnSpc>
          <a:spcPct val="90000"/>
        </a:lnSpc>
        <a:spcBef>
          <a:spcPts val="600"/>
        </a:spcBef>
        <a:buClr>
          <a:srgbClr val="B3B3B4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73396" indent="-182770" algn="l" defTabSz="913852" rtl="0" eaLnBrk="1" latinLnBrk="0" hangingPunct="1">
        <a:lnSpc>
          <a:spcPct val="90000"/>
        </a:lnSpc>
        <a:spcBef>
          <a:spcPts val="600"/>
        </a:spcBef>
        <a:buClr>
          <a:srgbClr val="B3B3B4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101858" indent="-182770" algn="l" defTabSz="913852" rtl="0" eaLnBrk="1" latinLnBrk="0" hangingPunct="1">
        <a:lnSpc>
          <a:spcPct val="90000"/>
        </a:lnSpc>
        <a:spcBef>
          <a:spcPts val="600"/>
        </a:spcBef>
        <a:buClr>
          <a:srgbClr val="B3B3B4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1597594-3497-9540-8C13-D61D74A0782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77974" y="6369894"/>
            <a:ext cx="11996935" cy="3749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1F2ACB0-5963-E64A-BE0D-80CB262C4B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025" y="6428850"/>
            <a:ext cx="1422027" cy="277175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7F902E-50F1-3748-A94C-4EDA0C895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339" y="306204"/>
            <a:ext cx="10535322" cy="9717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A9371E-8E8F-1D4C-A74A-9AC8282DE7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8339" y="1673352"/>
            <a:ext cx="10535322" cy="43616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708660" lvl="1" indent="-3429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rgbClr val="B3B3B4"/>
              </a:buClr>
              <a:buSzPct val="80000"/>
              <a:buFont typeface="Wingdings" pitchFamily="2" charset="2"/>
              <a:buChar char="§"/>
            </a:pPr>
            <a:r>
              <a:rPr lang="en-US" dirty="0"/>
              <a:t>Second level</a:t>
            </a:r>
          </a:p>
          <a:p>
            <a:pPr marL="1017270" lvl="2" indent="-285750" algn="l" defTabSz="914400" rtl="0" eaLnBrk="1" latinLnBrk="0" hangingPunct="1">
              <a:lnSpc>
                <a:spcPct val="90000"/>
              </a:lnSpc>
              <a:spcBef>
                <a:spcPts val="7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1383030" lvl="3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1748790" lvl="4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3B3B4"/>
              </a:buClr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1128A-D6DE-D84C-AD6C-D6F3F0EDE8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998" y="6426189"/>
            <a:ext cx="5692253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opyright © 2021 Veritas Technologies LLC  |  CONFIDENTIAL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213FE6-4650-1349-ADB3-8360764E1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789" y="6426189"/>
            <a:ext cx="207926" cy="2887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A39E1BE-BEA9-3141-B1D0-D0662867DFF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802D119-F655-5645-B575-09ED9D97A8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648" y="301752"/>
            <a:ext cx="544148" cy="969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135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5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2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08660" indent="-342900" algn="l" defTabSz="914400" rtl="0" eaLnBrk="1" latinLnBrk="0" hangingPunct="1">
        <a:lnSpc>
          <a:spcPct val="90000"/>
        </a:lnSpc>
        <a:spcBef>
          <a:spcPts val="800"/>
        </a:spcBef>
        <a:buClr>
          <a:srgbClr val="B3B3B4"/>
        </a:buClr>
        <a:buSzPct val="80000"/>
        <a:buFont typeface="Wingdings" pitchFamily="2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017270" indent="-285750" algn="l" defTabSz="914400" rtl="0" eaLnBrk="1" latinLnBrk="0" hangingPunct="1">
        <a:lnSpc>
          <a:spcPct val="90000"/>
        </a:lnSpc>
        <a:spcBef>
          <a:spcPts val="700"/>
        </a:spcBef>
        <a:buClr>
          <a:srgbClr val="B3B3B4"/>
        </a:buClr>
        <a:buSzPct val="100000"/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38303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74879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B3B3B4"/>
        </a:buClr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B900C1-EEFF-47F9-9A34-05FA00185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Cloud Admin/Owner role</a:t>
            </a:r>
            <a:endParaRPr lang="en-US" sz="1100" b="0" i="1" dirty="0">
              <a:solidFill>
                <a:schemeClr val="accent1"/>
              </a:solidFill>
            </a:endParaRP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F5893766-F5C5-44C4-B2CE-4E080333048D}"/>
              </a:ext>
            </a:extLst>
          </p:cNvPr>
          <p:cNvSpPr txBox="1">
            <a:spLocks/>
          </p:cNvSpPr>
          <p:nvPr/>
        </p:nvSpPr>
        <p:spPr>
          <a:xfrm>
            <a:off x="1118898" y="6488684"/>
            <a:ext cx="3191102" cy="18288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+mj-lt"/>
              </a:rPr>
              <a:t>Copyright © </a:t>
            </a:r>
            <a:r>
              <a:rPr lang="is-IS" sz="1000">
                <a:solidFill>
                  <a:schemeClr val="bg1">
                    <a:lumMod val="65000"/>
                  </a:schemeClr>
                </a:solidFill>
                <a:latin typeface="+mj-lt"/>
              </a:rPr>
              <a:t>2018</a:t>
            </a:r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+mj-lt"/>
              </a:rPr>
              <a:t> Veritas Technologies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5097783B-3AB0-448E-A134-3D1AA655F1F7}"/>
              </a:ext>
            </a:extLst>
          </p:cNvPr>
          <p:cNvSpPr txBox="1">
            <a:spLocks/>
          </p:cNvSpPr>
          <p:nvPr/>
        </p:nvSpPr>
        <p:spPr>
          <a:xfrm>
            <a:off x="611029" y="6488684"/>
            <a:ext cx="406294" cy="18288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960183-D323-4677-9D78-78D1D39B0029}" type="slidenum">
              <a:rPr lang="en-US" sz="100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pPr/>
              <a:t>1</a:t>
            </a:fld>
            <a:endParaRPr lang="en-US" sz="100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F32D20-2E70-4595-85F2-DAC17636CB2F}"/>
              </a:ext>
            </a:extLst>
          </p:cNvPr>
          <p:cNvSpPr txBox="1"/>
          <p:nvPr/>
        </p:nvSpPr>
        <p:spPr>
          <a:xfrm>
            <a:off x="659081" y="1277910"/>
            <a:ext cx="10704581" cy="45329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The role will be given to maximum of two people per account. Users with these permissions are accountable for the the activities happening in the account including - 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rotecting Alkira resources &amp; not changing any Alkira resources.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Responsible for network changes</a:t>
            </a:r>
            <a:endParaRPr lang="en-US" sz="1400" dirty="0">
              <a:cs typeface="Arial" panose="020B0604020202020204"/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Account access reviews 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Not providing anything above engineering admin role to any other users.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Arial"/>
              </a:rPr>
              <a:t>Audit for any local users and act on it as defined by GSO.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cs typeface="Arial"/>
              </a:rPr>
              <a:t>Primary point of contact for security related alerts &amp; remediations. </a:t>
            </a:r>
          </a:p>
          <a:p>
            <a:pPr lvl="1">
              <a:spcBef>
                <a:spcPts val="600"/>
              </a:spcBef>
              <a:buClr>
                <a:schemeClr val="accent1"/>
              </a:buClr>
            </a:pPr>
            <a:endParaRPr lang="en-US" sz="1400" dirty="0"/>
          </a:p>
          <a:p>
            <a:pPr algn="l">
              <a:buClr>
                <a:schemeClr val="accent1"/>
              </a:buClr>
            </a:pPr>
            <a:endParaRPr lang="en-US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9DA161-B62E-62C8-AC42-B7EFE736F736}"/>
              </a:ext>
            </a:extLst>
          </p:cNvPr>
          <p:cNvSpPr txBox="1"/>
          <p:nvPr/>
        </p:nvSpPr>
        <p:spPr>
          <a:xfrm>
            <a:off x="10940902" y="6719777"/>
            <a:ext cx="0" cy="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194310" indent="-194310" algn="l"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50265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DaL9djOqivvhyuu_7n.Q"/>
</p:tagLst>
</file>

<file path=ppt/theme/theme1.xml><?xml version="1.0" encoding="utf-8"?>
<a:theme xmlns:a="http://schemas.openxmlformats.org/drawingml/2006/main" name="Content Slides">
  <a:themeElements>
    <a:clrScheme name="Veritas PPT Theme">
      <a:dk1>
        <a:srgbClr val="182C34"/>
      </a:dk1>
      <a:lt1>
        <a:srgbClr val="FFFFFF"/>
      </a:lt1>
      <a:dk2>
        <a:srgbClr val="415563"/>
      </a:dk2>
      <a:lt2>
        <a:srgbClr val="F3F5F8"/>
      </a:lt2>
      <a:accent1>
        <a:srgbClr val="AB2328"/>
      </a:accent1>
      <a:accent2>
        <a:srgbClr val="D31D24"/>
      </a:accent2>
      <a:accent3>
        <a:srgbClr val="FC1255"/>
      </a:accent3>
      <a:accent4>
        <a:srgbClr val="B537ED"/>
      </a:accent4>
      <a:accent5>
        <a:srgbClr val="0057B8"/>
      </a:accent5>
      <a:accent6>
        <a:srgbClr val="000000"/>
      </a:accent6>
      <a:hlink>
        <a:srgbClr val="0057B8"/>
      </a:hlink>
      <a:folHlink>
        <a:srgbClr val="B537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25400" cap="flat" cmpd="sng" algn="ctr">
          <a:noFill/>
          <a:prstDash val="solid"/>
          <a:miter lim="800000"/>
          <a:headEnd type="none" w="med" len="med"/>
          <a:tailEnd type="none" w="med" len="med"/>
        </a:ln>
        <a:effectLst>
          <a:outerShdw blurRad="317500" dist="63500" dir="5400000" algn="ctr" rotWithShape="0">
            <a:schemeClr val="tx1">
              <a:alpha val="20000"/>
            </a:scheme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800" b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194310" indent="-194310" algn="l">
          <a:spcAft>
            <a:spcPts val="1200"/>
          </a:spcAft>
          <a:buClr>
            <a:schemeClr val="accent1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Unique Content Layouts">
  <a:themeElements>
    <a:clrScheme name="Veritas PPT Theme">
      <a:dk1>
        <a:srgbClr val="182C34"/>
      </a:dk1>
      <a:lt1>
        <a:srgbClr val="FFFFFF"/>
      </a:lt1>
      <a:dk2>
        <a:srgbClr val="415563"/>
      </a:dk2>
      <a:lt2>
        <a:srgbClr val="F3F5F8"/>
      </a:lt2>
      <a:accent1>
        <a:srgbClr val="AB2328"/>
      </a:accent1>
      <a:accent2>
        <a:srgbClr val="D31D24"/>
      </a:accent2>
      <a:accent3>
        <a:srgbClr val="FC1255"/>
      </a:accent3>
      <a:accent4>
        <a:srgbClr val="B537ED"/>
      </a:accent4>
      <a:accent5>
        <a:srgbClr val="0057B8"/>
      </a:accent5>
      <a:accent6>
        <a:srgbClr val="000000"/>
      </a:accent6>
      <a:hlink>
        <a:srgbClr val="0057B8"/>
      </a:hlink>
      <a:folHlink>
        <a:srgbClr val="B537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25400" cap="flat" cmpd="sng" algn="ctr">
          <a:noFill/>
          <a:prstDash val="solid"/>
          <a:miter lim="800000"/>
          <a:headEnd type="none" w="med" len="med"/>
          <a:tailEnd type="none" w="med" len="med"/>
        </a:ln>
        <a:effectLst>
          <a:outerShdw blurRad="317500" dist="63500" dir="5400000" algn="ctr" rotWithShape="0">
            <a:schemeClr val="tx1">
              <a:alpha val="20000"/>
            </a:scheme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800" b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 marL="285750" indent="-285750" algn="l">
          <a:buClr>
            <a:schemeClr val="accent1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 Slides">
  <a:themeElements>
    <a:clrScheme name="Veritas PPT Theme">
      <a:dk1>
        <a:srgbClr val="182C34"/>
      </a:dk1>
      <a:lt1>
        <a:srgbClr val="FFFFFF"/>
      </a:lt1>
      <a:dk2>
        <a:srgbClr val="415563"/>
      </a:dk2>
      <a:lt2>
        <a:srgbClr val="F3F5F8"/>
      </a:lt2>
      <a:accent1>
        <a:srgbClr val="AB2328"/>
      </a:accent1>
      <a:accent2>
        <a:srgbClr val="D31D24"/>
      </a:accent2>
      <a:accent3>
        <a:srgbClr val="FC1255"/>
      </a:accent3>
      <a:accent4>
        <a:srgbClr val="B537ED"/>
      </a:accent4>
      <a:accent5>
        <a:srgbClr val="0057B8"/>
      </a:accent5>
      <a:accent6>
        <a:srgbClr val="000000"/>
      </a:accent6>
      <a:hlink>
        <a:srgbClr val="0057B8"/>
      </a:hlink>
      <a:folHlink>
        <a:srgbClr val="B537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25400" cap="flat" cmpd="sng" algn="ctr">
          <a:noFill/>
          <a:prstDash val="solid"/>
          <a:miter lim="800000"/>
          <a:headEnd type="none" w="med" len="med"/>
          <a:tailEnd type="none" w="med" len="med"/>
        </a:ln>
        <a:effectLst>
          <a:outerShdw blurRad="317500" dist="63500" dir="5400000" algn="ctr" rotWithShape="0">
            <a:schemeClr val="tx1">
              <a:alpha val="20000"/>
            </a:scheme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800" b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194310" indent="-194310" algn="l">
          <a:spcAft>
            <a:spcPts val="1200"/>
          </a:spcAft>
          <a:buClr>
            <a:schemeClr val="accent1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ontent Slides">
  <a:themeElements>
    <a:clrScheme name="Veritas PPT Theme">
      <a:dk1>
        <a:srgbClr val="182C34"/>
      </a:dk1>
      <a:lt1>
        <a:srgbClr val="FFFFFF"/>
      </a:lt1>
      <a:dk2>
        <a:srgbClr val="415563"/>
      </a:dk2>
      <a:lt2>
        <a:srgbClr val="F3F5F8"/>
      </a:lt2>
      <a:accent1>
        <a:srgbClr val="AB2328"/>
      </a:accent1>
      <a:accent2>
        <a:srgbClr val="D31D24"/>
      </a:accent2>
      <a:accent3>
        <a:srgbClr val="FC1255"/>
      </a:accent3>
      <a:accent4>
        <a:srgbClr val="B537ED"/>
      </a:accent4>
      <a:accent5>
        <a:srgbClr val="0057B8"/>
      </a:accent5>
      <a:accent6>
        <a:srgbClr val="000000"/>
      </a:accent6>
      <a:hlink>
        <a:srgbClr val="0057B8"/>
      </a:hlink>
      <a:folHlink>
        <a:srgbClr val="B537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25400" cap="flat" cmpd="sng" algn="ctr">
          <a:noFill/>
          <a:prstDash val="solid"/>
          <a:miter lim="800000"/>
          <a:headEnd type="none" w="med" len="med"/>
          <a:tailEnd type="none" w="med" len="med"/>
        </a:ln>
        <a:effectLst>
          <a:outerShdw blurRad="317500" dist="63500" dir="5400000" algn="ctr" rotWithShape="0">
            <a:schemeClr val="tx1">
              <a:alpha val="20000"/>
            </a:scheme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800" b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194310" indent="-194310" algn="l">
          <a:spcAft>
            <a:spcPts val="1200"/>
          </a:spcAft>
          <a:buClr>
            <a:schemeClr val="accent1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ontent Slides">
  <a:themeElements>
    <a:clrScheme name="Veritas PPT Theme">
      <a:dk1>
        <a:srgbClr val="182C34"/>
      </a:dk1>
      <a:lt1>
        <a:srgbClr val="FFFFFF"/>
      </a:lt1>
      <a:dk2>
        <a:srgbClr val="415563"/>
      </a:dk2>
      <a:lt2>
        <a:srgbClr val="F3F5F8"/>
      </a:lt2>
      <a:accent1>
        <a:srgbClr val="AB2328"/>
      </a:accent1>
      <a:accent2>
        <a:srgbClr val="D31D24"/>
      </a:accent2>
      <a:accent3>
        <a:srgbClr val="FC1255"/>
      </a:accent3>
      <a:accent4>
        <a:srgbClr val="B537ED"/>
      </a:accent4>
      <a:accent5>
        <a:srgbClr val="0057B8"/>
      </a:accent5>
      <a:accent6>
        <a:srgbClr val="000000"/>
      </a:accent6>
      <a:hlink>
        <a:srgbClr val="0057B8"/>
      </a:hlink>
      <a:folHlink>
        <a:srgbClr val="B537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25400" cap="flat" cmpd="sng" algn="ctr">
          <a:noFill/>
          <a:prstDash val="solid"/>
          <a:miter lim="800000"/>
          <a:headEnd type="none" w="med" len="med"/>
          <a:tailEnd type="none" w="med" len="med"/>
        </a:ln>
        <a:effectLst>
          <a:outerShdw blurRad="317500" dist="63500" dir="5400000" algn="ctr" rotWithShape="0">
            <a:schemeClr val="tx1">
              <a:alpha val="20000"/>
            </a:scheme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800" b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194310" indent="-194310" algn="l">
          <a:spcAft>
            <a:spcPts val="1200"/>
          </a:spcAft>
          <a:buClr>
            <a:schemeClr val="accent1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Veritas_Brand_2017_widescreen">
  <a:themeElements>
    <a:clrScheme name="Custom 1">
      <a:dk1>
        <a:srgbClr val="000000"/>
      </a:dk1>
      <a:lt1>
        <a:srgbClr val="FFFFFF"/>
      </a:lt1>
      <a:dk2>
        <a:srgbClr val="454141"/>
      </a:dk2>
      <a:lt2>
        <a:srgbClr val="6A7171"/>
      </a:lt2>
      <a:accent1>
        <a:srgbClr val="AB2328"/>
      </a:accent1>
      <a:accent2>
        <a:srgbClr val="00D0FF"/>
      </a:accent2>
      <a:accent3>
        <a:srgbClr val="730DF2"/>
      </a:accent3>
      <a:accent4>
        <a:srgbClr val="FC1255"/>
      </a:accent4>
      <a:accent5>
        <a:srgbClr val="0B45C3"/>
      </a:accent5>
      <a:accent6>
        <a:srgbClr val="C1019D"/>
      </a:accent6>
      <a:hlink>
        <a:srgbClr val="3DA1B9"/>
      </a:hlink>
      <a:folHlink>
        <a:srgbClr val="838B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 cap="flat" cmpd="sng" algn="ctr">
          <a:solidFill>
            <a:schemeClr val="bg2">
              <a:lumMod val="60000"/>
              <a:lumOff val="40000"/>
            </a:schemeClr>
          </a:solidFill>
          <a:prstDash val="solid"/>
          <a:miter lim="800000"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800" dirty="0" smtClean="0">
            <a:solidFill>
              <a:schemeClr val="bg2">
                <a:lumMod val="50000"/>
              </a:schemeClr>
            </a:solidFill>
            <a:latin typeface="+mn-lt"/>
          </a:defRPr>
        </a:defPPr>
      </a:lstStyle>
    </a:spDef>
    <a:lnDef>
      <a:spPr bwMode="auto">
        <a:solidFill>
          <a:schemeClr val="accent1"/>
        </a:solidFill>
        <a:ln w="25400" cap="flat" cmpd="sng" algn="ctr">
          <a:solidFill>
            <a:schemeClr val="bg2">
              <a:lumMod val="60000"/>
              <a:lumOff val="40000"/>
            </a:schemeClr>
          </a:solidFill>
          <a:prstDash val="solid"/>
          <a:miter lim="800000"/>
          <a:headEnd type="none" w="med" len="med"/>
          <a:tailEnd type="triangle"/>
        </a:ln>
        <a:effectLst/>
      </a:spPr>
      <a:bodyPr/>
      <a:lstStyle/>
    </a:lnDef>
    <a:txDef>
      <a:spPr/>
      <a:bodyPr vert="horz" wrap="square" lIns="0" tIns="0" rIns="0" bIns="0" rtlCol="0" anchor="t">
        <a:noAutofit/>
      </a:bodyPr>
      <a:lstStyle>
        <a:defPPr algn="l">
          <a:defRPr b="1" dirty="0" err="1" smtClean="0">
            <a:latin typeface="Polaris Book" panose="02000000000000000000" pitchFamily="2" charset="0"/>
            <a:ea typeface="Polaris Book" panose="02000000000000000000" pitchFamily="2" charset="0"/>
            <a:cs typeface="Polaris Book" panose="02000000000000000000" pitchFamily="2" charset="0"/>
          </a:defRPr>
        </a:defPPr>
      </a:lstStyle>
    </a:txDef>
  </a:objectDefaults>
  <a:extraClrSchemeLst/>
  <a:custClrLst>
    <a:custClr name="173 | 195 | 43">
      <a:srgbClr val="ADC32B"/>
    </a:custClr>
    <a:custClr name="234 | 104 | 60">
      <a:srgbClr val="EA683C"/>
    </a:custClr>
    <a:custClr name="252 | 180 | 69">
      <a:srgbClr val="FCB445"/>
    </a:custClr>
    <a:custClr name="201 | 221 | 229">
      <a:srgbClr val="C9DDE5"/>
    </a:custClr>
  </a:custClrLst>
  <a:extLst>
    <a:ext uri="{05A4C25C-085E-4340-85A3-A5531E510DB2}">
      <thm15:themeFamily xmlns:thm15="http://schemas.microsoft.com/office/thememl/2012/main" name="Veritas_Brand_PPT_Template_wide_light" id="{B549FD35-3DB8-B545-87BC-BB7D328B2073}" vid="{0A9FE40C-7676-624B-8937-7B1BDC9ABC26}"/>
    </a:ext>
  </a:extLst>
</a:theme>
</file>

<file path=ppt/theme/theme7.xml><?xml version="1.0" encoding="utf-8"?>
<a:theme xmlns:a="http://schemas.openxmlformats.org/drawingml/2006/main" name="Content Slides">
  <a:themeElements>
    <a:clrScheme name="Veritas PPT Theme">
      <a:dk1>
        <a:srgbClr val="182C34"/>
      </a:dk1>
      <a:lt1>
        <a:srgbClr val="FFFFFF"/>
      </a:lt1>
      <a:dk2>
        <a:srgbClr val="415563"/>
      </a:dk2>
      <a:lt2>
        <a:srgbClr val="F3F5F8"/>
      </a:lt2>
      <a:accent1>
        <a:srgbClr val="AB2328"/>
      </a:accent1>
      <a:accent2>
        <a:srgbClr val="D31D24"/>
      </a:accent2>
      <a:accent3>
        <a:srgbClr val="FC1255"/>
      </a:accent3>
      <a:accent4>
        <a:srgbClr val="B537ED"/>
      </a:accent4>
      <a:accent5>
        <a:srgbClr val="0057B8"/>
      </a:accent5>
      <a:accent6>
        <a:srgbClr val="000000"/>
      </a:accent6>
      <a:hlink>
        <a:srgbClr val="0057B8"/>
      </a:hlink>
      <a:folHlink>
        <a:srgbClr val="B537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25400" cap="flat" cmpd="sng" algn="ctr">
          <a:noFill/>
          <a:prstDash val="solid"/>
          <a:miter lim="800000"/>
          <a:headEnd type="none" w="med" len="med"/>
          <a:tailEnd type="none" w="med" len="med"/>
        </a:ln>
        <a:effectLst>
          <a:outerShdw blurRad="317500" dist="63500" dir="5400000" algn="ctr" rotWithShape="0">
            <a:schemeClr val="tx1">
              <a:alpha val="20000"/>
            </a:scheme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800" b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194310" indent="-194310" algn="l">
          <a:spcAft>
            <a:spcPts val="1200"/>
          </a:spcAft>
          <a:buClr>
            <a:schemeClr val="accent1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C5AC3E625CD94DAFAF4DBB73596CC4" ma:contentTypeVersion="4" ma:contentTypeDescription="Create a new document." ma:contentTypeScope="" ma:versionID="0de21dabf12f7552ca4ad70e300e85e6">
  <xsd:schema xmlns:xsd="http://www.w3.org/2001/XMLSchema" xmlns:xs="http://www.w3.org/2001/XMLSchema" xmlns:p="http://schemas.microsoft.com/office/2006/metadata/properties" xmlns:ns2="d7f5b02a-f79c-48b7-95be-8df67d6c14b9" xmlns:ns3="8698415b-3073-4fcf-a515-8ba7c0b37122" targetNamespace="http://schemas.microsoft.com/office/2006/metadata/properties" ma:root="true" ma:fieldsID="ee2eb94aec2d58046f81b83658ed9380" ns2:_="" ns3:_="">
    <xsd:import namespace="d7f5b02a-f79c-48b7-95be-8df67d6c14b9"/>
    <xsd:import namespace="8698415b-3073-4fcf-a515-8ba7c0b371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f5b02a-f79c-48b7-95be-8df67d6c14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98415b-3073-4fcf-a515-8ba7c0b3712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559BEA-C0FC-4050-9C1E-38C25C49B6C9}">
  <ds:schemaRefs>
    <ds:schemaRef ds:uri="http://purl.org/dc/elements/1.1/"/>
    <ds:schemaRef ds:uri="http://purl.org/dc/dcmitype/"/>
    <ds:schemaRef ds:uri="8698415b-3073-4fcf-a515-8ba7c0b37122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d7f5b02a-f79c-48b7-95be-8df67d6c14b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2E9E2F2-BC28-4B5C-A0C5-D4F4A9E17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7f5b02a-f79c-48b7-95be-8df67d6c14b9"/>
    <ds:schemaRef ds:uri="8698415b-3073-4fcf-a515-8ba7c0b371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FD7C536-38C1-411C-B336-66D3E38653E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5</TotalTime>
  <Words>95</Words>
  <Application>Microsoft Macintosh PowerPoint</Application>
  <PresentationFormat>Widescreen</PresentationFormat>
  <Paragraphs>1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6" baseType="lpstr">
      <vt:lpstr>Arial</vt:lpstr>
      <vt:lpstr>Arial Black</vt:lpstr>
      <vt:lpstr>Calibri</vt:lpstr>
      <vt:lpstr>Corbel</vt:lpstr>
      <vt:lpstr>Polaris Book</vt:lpstr>
      <vt:lpstr>Polaris-Book</vt:lpstr>
      <vt:lpstr>Wingdings</vt:lpstr>
      <vt:lpstr>Content Slides</vt:lpstr>
      <vt:lpstr>Unique Content Layouts</vt:lpstr>
      <vt:lpstr>Content Slides</vt:lpstr>
      <vt:lpstr>Content Slides</vt:lpstr>
      <vt:lpstr>Content Slides</vt:lpstr>
      <vt:lpstr>4_Veritas_Brand_2017_widescreen</vt:lpstr>
      <vt:lpstr>Content Slides</vt:lpstr>
      <vt:lpstr>think-cell Slide</vt:lpstr>
      <vt:lpstr>Cloud Admin/Owner role</vt:lpstr>
    </vt:vector>
  </TitlesOfParts>
  <Manager/>
  <Company>Verita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freshed Brand PPTX Template</dc:title>
  <dc:subject/>
  <dc:creator>Mike Zientara</dc:creator>
  <cp:keywords/>
  <dc:description/>
  <cp:lastModifiedBy>Pranay Shastrulla</cp:lastModifiedBy>
  <cp:revision>608</cp:revision>
  <dcterms:created xsi:type="dcterms:W3CDTF">2021-08-16T23:33:11Z</dcterms:created>
  <dcterms:modified xsi:type="dcterms:W3CDTF">2022-10-04T14:54:5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C5AC3E625CD94DAFAF4DBB73596CC4</vt:lpwstr>
  </property>
</Properties>
</file>